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6" r:id="rId3"/>
    <p:sldId id="258" r:id="rId4"/>
    <p:sldId id="259" r:id="rId5"/>
    <p:sldId id="261" r:id="rId6"/>
    <p:sldId id="265" r:id="rId7"/>
    <p:sldId id="262" r:id="rId8"/>
    <p:sldId id="266" r:id="rId9"/>
    <p:sldId id="267" r:id="rId10"/>
    <p:sldId id="260" r:id="rId1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3B7D3E-E071-4618-BE47-02F87A8F7EF9}" v="62" dt="2025-01-11T10:03:41.77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rayan Patil" userId="16060a7db6111a16" providerId="LiveId" clId="{763B7D3E-E071-4618-BE47-02F87A8F7EF9}"/>
    <pc:docChg chg="undo custSel addSld delSld modSld">
      <pc:chgData name="Narayan Patil" userId="16060a7db6111a16" providerId="LiveId" clId="{763B7D3E-E071-4618-BE47-02F87A8F7EF9}" dt="2025-01-11T10:03:41.778" v="818" actId="1076"/>
      <pc:docMkLst>
        <pc:docMk/>
      </pc:docMkLst>
      <pc:sldChg chg="delSp modSp mod">
        <pc:chgData name="Narayan Patil" userId="16060a7db6111a16" providerId="LiveId" clId="{763B7D3E-E071-4618-BE47-02F87A8F7EF9}" dt="2025-01-11T09:43:07.289" v="662" actId="20577"/>
        <pc:sldMkLst>
          <pc:docMk/>
          <pc:sldMk cId="4168657796" sldId="256"/>
        </pc:sldMkLst>
        <pc:spChg chg="mod">
          <ac:chgData name="Narayan Patil" userId="16060a7db6111a16" providerId="LiveId" clId="{763B7D3E-E071-4618-BE47-02F87A8F7EF9}" dt="2025-01-10T17:17:37.957" v="31" actId="20577"/>
          <ac:spMkLst>
            <pc:docMk/>
            <pc:sldMk cId="4168657796" sldId="256"/>
            <ac:spMk id="2" creationId="{82572E40-BBEC-E8B1-15EB-33312DFA862A}"/>
          </ac:spMkLst>
        </pc:spChg>
        <pc:spChg chg="mod">
          <ac:chgData name="Narayan Patil" userId="16060a7db6111a16" providerId="LiveId" clId="{763B7D3E-E071-4618-BE47-02F87A8F7EF9}" dt="2025-01-11T09:43:07.289" v="662" actId="20577"/>
          <ac:spMkLst>
            <pc:docMk/>
            <pc:sldMk cId="4168657796" sldId="256"/>
            <ac:spMk id="3" creationId="{26421273-DA8F-4996-5664-ECA94FE82E6B}"/>
          </ac:spMkLst>
        </pc:spChg>
        <pc:picChg chg="del">
          <ac:chgData name="Narayan Patil" userId="16060a7db6111a16" providerId="LiveId" clId="{763B7D3E-E071-4618-BE47-02F87A8F7EF9}" dt="2025-01-10T17:15:28.467" v="0" actId="478"/>
          <ac:picMkLst>
            <pc:docMk/>
            <pc:sldMk cId="4168657796" sldId="256"/>
            <ac:picMk id="5" creationId="{5D3DF3D2-1CC8-D3CF-41BB-AF544C8A47D8}"/>
          </ac:picMkLst>
        </pc:picChg>
      </pc:sldChg>
      <pc:sldChg chg="addSp delSp modSp mod">
        <pc:chgData name="Narayan Patil" userId="16060a7db6111a16" providerId="LiveId" clId="{763B7D3E-E071-4618-BE47-02F87A8F7EF9}" dt="2025-01-11T09:42:03.632" v="657" actId="478"/>
        <pc:sldMkLst>
          <pc:docMk/>
          <pc:sldMk cId="2637821224" sldId="257"/>
        </pc:sldMkLst>
        <pc:spChg chg="mod">
          <ac:chgData name="Narayan Patil" userId="16060a7db6111a16" providerId="LiveId" clId="{763B7D3E-E071-4618-BE47-02F87A8F7EF9}" dt="2025-01-10T18:06:56.749" v="597" actId="14100"/>
          <ac:spMkLst>
            <pc:docMk/>
            <pc:sldMk cId="2637821224" sldId="257"/>
            <ac:spMk id="2" creationId="{6A963A28-2F98-B0DD-4764-2EC621253270}"/>
          </ac:spMkLst>
        </pc:spChg>
        <pc:spChg chg="del mod">
          <ac:chgData name="Narayan Patil" userId="16060a7db6111a16" providerId="LiveId" clId="{763B7D3E-E071-4618-BE47-02F87A8F7EF9}" dt="2025-01-11T09:42:00.548" v="656" actId="478"/>
          <ac:spMkLst>
            <pc:docMk/>
            <pc:sldMk cId="2637821224" sldId="257"/>
            <ac:spMk id="3" creationId="{46AA8ABB-C0F8-1773-60E4-A724C1D8213B}"/>
          </ac:spMkLst>
        </pc:spChg>
        <pc:spChg chg="add del mod">
          <ac:chgData name="Narayan Patil" userId="16060a7db6111a16" providerId="LiveId" clId="{763B7D3E-E071-4618-BE47-02F87A8F7EF9}" dt="2025-01-11T09:42:03.632" v="657" actId="478"/>
          <ac:spMkLst>
            <pc:docMk/>
            <pc:sldMk cId="2637821224" sldId="257"/>
            <ac:spMk id="5" creationId="{1F7851EF-E08A-C72C-5F0F-22DFC30A41C1}"/>
          </ac:spMkLst>
        </pc:spChg>
      </pc:sldChg>
      <pc:sldChg chg="addSp delSp modSp mod">
        <pc:chgData name="Narayan Patil" userId="16060a7db6111a16" providerId="LiveId" clId="{763B7D3E-E071-4618-BE47-02F87A8F7EF9}" dt="2025-01-11T09:45:41.205" v="666" actId="22"/>
        <pc:sldMkLst>
          <pc:docMk/>
          <pc:sldMk cId="19184288" sldId="258"/>
        </pc:sldMkLst>
        <pc:spChg chg="mod">
          <ac:chgData name="Narayan Patil" userId="16060a7db6111a16" providerId="LiveId" clId="{763B7D3E-E071-4618-BE47-02F87A8F7EF9}" dt="2025-01-10T17:29:19.427" v="141" actId="20577"/>
          <ac:spMkLst>
            <pc:docMk/>
            <pc:sldMk cId="19184288" sldId="258"/>
            <ac:spMk id="2" creationId="{82572E40-BBEC-E8B1-15EB-33312DFA862A}"/>
          </ac:spMkLst>
        </pc:spChg>
        <pc:spChg chg="del mod">
          <ac:chgData name="Narayan Patil" userId="16060a7db6111a16" providerId="LiveId" clId="{763B7D3E-E071-4618-BE47-02F87A8F7EF9}" dt="2025-01-10T17:32:02.195" v="196"/>
          <ac:spMkLst>
            <pc:docMk/>
            <pc:sldMk cId="19184288" sldId="258"/>
            <ac:spMk id="3" creationId="{26421273-DA8F-4996-5664-ECA94FE82E6B}"/>
          </ac:spMkLst>
        </pc:spChg>
        <pc:spChg chg="add del">
          <ac:chgData name="Narayan Patil" userId="16060a7db6111a16" providerId="LiveId" clId="{763B7D3E-E071-4618-BE47-02F87A8F7EF9}" dt="2025-01-11T09:45:38.559" v="664" actId="22"/>
          <ac:spMkLst>
            <pc:docMk/>
            <pc:sldMk cId="19184288" sldId="258"/>
            <ac:spMk id="4" creationId="{5B93CCDF-586D-BEFE-F4C6-15AFEB134D38}"/>
          </ac:spMkLst>
        </pc:spChg>
        <pc:spChg chg="add">
          <ac:chgData name="Narayan Patil" userId="16060a7db6111a16" providerId="LiveId" clId="{763B7D3E-E071-4618-BE47-02F87A8F7EF9}" dt="2025-01-10T17:31:51.847" v="193"/>
          <ac:spMkLst>
            <pc:docMk/>
            <pc:sldMk cId="19184288" sldId="258"/>
            <ac:spMk id="7" creationId="{23D6ED2C-1880-6EC2-F817-D20A5748AA0C}"/>
          </ac:spMkLst>
        </pc:spChg>
        <pc:spChg chg="add del">
          <ac:chgData name="Narayan Patil" userId="16060a7db6111a16" providerId="LiveId" clId="{763B7D3E-E071-4618-BE47-02F87A8F7EF9}" dt="2025-01-11T09:45:41.205" v="666" actId="22"/>
          <ac:spMkLst>
            <pc:docMk/>
            <pc:sldMk cId="19184288" sldId="258"/>
            <ac:spMk id="7" creationId="{D8712CBA-4963-F674-21C9-D4A701C7E1D2}"/>
          </ac:spMkLst>
        </pc:spChg>
        <pc:spChg chg="add mod">
          <ac:chgData name="Narayan Patil" userId="16060a7db6111a16" providerId="LiveId" clId="{763B7D3E-E071-4618-BE47-02F87A8F7EF9}" dt="2025-01-10T17:32:23.658" v="204" actId="14100"/>
          <ac:spMkLst>
            <pc:docMk/>
            <pc:sldMk cId="19184288" sldId="258"/>
            <ac:spMk id="8" creationId="{EF32271A-E63F-523C-E8D5-6779BA6A3BBA}"/>
          </ac:spMkLst>
        </pc:spChg>
        <pc:picChg chg="del">
          <ac:chgData name="Narayan Patil" userId="16060a7db6111a16" providerId="LiveId" clId="{763B7D3E-E071-4618-BE47-02F87A8F7EF9}" dt="2025-01-10T17:27:18.775" v="81" actId="478"/>
          <ac:picMkLst>
            <pc:docMk/>
            <pc:sldMk cId="19184288" sldId="258"/>
            <ac:picMk id="5" creationId="{CE4C1A64-6421-DAF7-89D9-BB6E8D51EE0A}"/>
          </ac:picMkLst>
        </pc:picChg>
        <pc:picChg chg="add mod modCrop">
          <ac:chgData name="Narayan Patil" userId="16060a7db6111a16" providerId="LiveId" clId="{763B7D3E-E071-4618-BE47-02F87A8F7EF9}" dt="2025-01-10T17:32:25.548" v="205" actId="1076"/>
          <ac:picMkLst>
            <pc:docMk/>
            <pc:sldMk cId="19184288" sldId="258"/>
            <ac:picMk id="6" creationId="{300C400C-C7AF-F257-A09A-E0898CD50396}"/>
          </ac:picMkLst>
        </pc:picChg>
      </pc:sldChg>
      <pc:sldChg chg="addSp delSp modSp mod">
        <pc:chgData name="Narayan Patil" userId="16060a7db6111a16" providerId="LiveId" clId="{763B7D3E-E071-4618-BE47-02F87A8F7EF9}" dt="2025-01-10T17:52:37.414" v="326" actId="1076"/>
        <pc:sldMkLst>
          <pc:docMk/>
          <pc:sldMk cId="3033151651" sldId="259"/>
        </pc:sldMkLst>
        <pc:spChg chg="mod">
          <ac:chgData name="Narayan Patil" userId="16060a7db6111a16" providerId="LiveId" clId="{763B7D3E-E071-4618-BE47-02F87A8F7EF9}" dt="2025-01-10T17:47:05.187" v="237" actId="20577"/>
          <ac:spMkLst>
            <pc:docMk/>
            <pc:sldMk cId="3033151651" sldId="259"/>
            <ac:spMk id="2" creationId="{82572E40-BBEC-E8B1-15EB-33312DFA862A}"/>
          </ac:spMkLst>
        </pc:spChg>
        <pc:spChg chg="del mod">
          <ac:chgData name="Narayan Patil" userId="16060a7db6111a16" providerId="LiveId" clId="{763B7D3E-E071-4618-BE47-02F87A8F7EF9}" dt="2025-01-10T17:51:46.149" v="311"/>
          <ac:spMkLst>
            <pc:docMk/>
            <pc:sldMk cId="3033151651" sldId="259"/>
            <ac:spMk id="3" creationId="{26421273-DA8F-4996-5664-ECA94FE82E6B}"/>
          </ac:spMkLst>
        </pc:spChg>
        <pc:spChg chg="add mod">
          <ac:chgData name="Narayan Patil" userId="16060a7db6111a16" providerId="LiveId" clId="{763B7D3E-E071-4618-BE47-02F87A8F7EF9}" dt="2025-01-10T17:52:30.657" v="323" actId="1076"/>
          <ac:spMkLst>
            <pc:docMk/>
            <pc:sldMk cId="3033151651" sldId="259"/>
            <ac:spMk id="9" creationId="{6BC950DE-32A7-728C-EDCF-6505A4364496}"/>
          </ac:spMkLst>
        </pc:spChg>
        <pc:graphicFrameChg chg="add del mod">
          <ac:chgData name="Narayan Patil" userId="16060a7db6111a16" providerId="LiveId" clId="{763B7D3E-E071-4618-BE47-02F87A8F7EF9}" dt="2025-01-10T17:46:51.051" v="212" actId="478"/>
          <ac:graphicFrameMkLst>
            <pc:docMk/>
            <pc:sldMk cId="3033151651" sldId="259"/>
            <ac:graphicFrameMk id="5" creationId="{2CD1039A-EEB7-4F7A-CB52-C83E4E975728}"/>
          </ac:graphicFrameMkLst>
        </pc:graphicFrameChg>
        <pc:picChg chg="del">
          <ac:chgData name="Narayan Patil" userId="16060a7db6111a16" providerId="LiveId" clId="{763B7D3E-E071-4618-BE47-02F87A8F7EF9}" dt="2025-01-10T17:38:06.467" v="206" actId="478"/>
          <ac:picMkLst>
            <pc:docMk/>
            <pc:sldMk cId="3033151651" sldId="259"/>
            <ac:picMk id="4" creationId="{C9261F0E-66EC-81A3-31F4-E12F8E6A036A}"/>
          </ac:picMkLst>
        </pc:picChg>
        <pc:picChg chg="add mod">
          <ac:chgData name="Narayan Patil" userId="16060a7db6111a16" providerId="LiveId" clId="{763B7D3E-E071-4618-BE47-02F87A8F7EF9}" dt="2025-01-10T17:52:37.414" v="326" actId="1076"/>
          <ac:picMkLst>
            <pc:docMk/>
            <pc:sldMk cId="3033151651" sldId="259"/>
            <ac:picMk id="7" creationId="{B31C2B48-B351-A5E5-7176-BBBD44F829DE}"/>
          </ac:picMkLst>
        </pc:picChg>
        <pc:picChg chg="add mod">
          <ac:chgData name="Narayan Patil" userId="16060a7db6111a16" providerId="LiveId" clId="{763B7D3E-E071-4618-BE47-02F87A8F7EF9}" dt="2025-01-10T17:51:37.396" v="309"/>
          <ac:picMkLst>
            <pc:docMk/>
            <pc:sldMk cId="3033151651" sldId="259"/>
            <ac:picMk id="8" creationId="{E12B2070-E676-AA68-1E51-A2D3E127B7C5}"/>
          </ac:picMkLst>
        </pc:picChg>
      </pc:sldChg>
      <pc:sldChg chg="addSp delSp modSp mod">
        <pc:chgData name="Narayan Patil" userId="16060a7db6111a16" providerId="LiveId" clId="{763B7D3E-E071-4618-BE47-02F87A8F7EF9}" dt="2025-01-11T09:49:13.902" v="694" actId="27918"/>
        <pc:sldMkLst>
          <pc:docMk/>
          <pc:sldMk cId="2059220436" sldId="261"/>
        </pc:sldMkLst>
        <pc:spChg chg="mod">
          <ac:chgData name="Narayan Patil" userId="16060a7db6111a16" providerId="LiveId" clId="{763B7D3E-E071-4618-BE47-02F87A8F7EF9}" dt="2025-01-10T17:58:11.012" v="437" actId="20577"/>
          <ac:spMkLst>
            <pc:docMk/>
            <pc:sldMk cId="2059220436" sldId="261"/>
            <ac:spMk id="2" creationId="{82572E40-BBEC-E8B1-15EB-33312DFA862A}"/>
          </ac:spMkLst>
        </pc:spChg>
        <pc:spChg chg="del mod">
          <ac:chgData name="Narayan Patil" userId="16060a7db6111a16" providerId="LiveId" clId="{763B7D3E-E071-4618-BE47-02F87A8F7EF9}" dt="2025-01-10T17:55:47.171" v="340"/>
          <ac:spMkLst>
            <pc:docMk/>
            <pc:sldMk cId="2059220436" sldId="261"/>
            <ac:spMk id="3" creationId="{26421273-DA8F-4996-5664-ECA94FE82E6B}"/>
          </ac:spMkLst>
        </pc:spChg>
        <pc:spChg chg="add del mod">
          <ac:chgData name="Narayan Patil" userId="16060a7db6111a16" providerId="LiveId" clId="{763B7D3E-E071-4618-BE47-02F87A8F7EF9}" dt="2025-01-10T17:56:17.055" v="348" actId="478"/>
          <ac:spMkLst>
            <pc:docMk/>
            <pc:sldMk cId="2059220436" sldId="261"/>
            <ac:spMk id="8" creationId="{3FD0FAB7-E723-0BAC-52E0-E2ACCCE1A23F}"/>
          </ac:spMkLst>
        </pc:spChg>
        <pc:spChg chg="add del mod">
          <ac:chgData name="Narayan Patil" userId="16060a7db6111a16" providerId="LiveId" clId="{763B7D3E-E071-4618-BE47-02F87A8F7EF9}" dt="2025-01-10T17:56:20.840" v="349" actId="478"/>
          <ac:spMkLst>
            <pc:docMk/>
            <pc:sldMk cId="2059220436" sldId="261"/>
            <ac:spMk id="9" creationId="{094DD125-688C-78A6-3E23-C36628705406}"/>
          </ac:spMkLst>
        </pc:spChg>
        <pc:graphicFrameChg chg="add mod">
          <ac:chgData name="Narayan Patil" userId="16060a7db6111a16" providerId="LiveId" clId="{763B7D3E-E071-4618-BE47-02F87A8F7EF9}" dt="2025-01-11T09:48:00.047" v="672" actId="14100"/>
          <ac:graphicFrameMkLst>
            <pc:docMk/>
            <pc:sldMk cId="2059220436" sldId="261"/>
            <ac:graphicFrameMk id="3" creationId="{CEA0A7BC-3481-AB23-06C5-AFDA59DC3C7C}"/>
          </ac:graphicFrameMkLst>
        </pc:graphicFrameChg>
        <pc:graphicFrameChg chg="add del mod">
          <ac:chgData name="Narayan Patil" userId="16060a7db6111a16" providerId="LiveId" clId="{763B7D3E-E071-4618-BE47-02F87A8F7EF9}" dt="2025-01-10T17:53:51.405" v="331" actId="478"/>
          <ac:graphicFrameMkLst>
            <pc:docMk/>
            <pc:sldMk cId="2059220436" sldId="261"/>
            <ac:graphicFrameMk id="4" creationId="{CEA0A7BC-3481-AB23-06C5-AFDA59DC3C7C}"/>
          </ac:graphicFrameMkLst>
        </pc:graphicFrameChg>
        <pc:graphicFrameChg chg="add del mod">
          <ac:chgData name="Narayan Patil" userId="16060a7db6111a16" providerId="LiveId" clId="{763B7D3E-E071-4618-BE47-02F87A8F7EF9}" dt="2025-01-10T17:54:01.652" v="334" actId="478"/>
          <ac:graphicFrameMkLst>
            <pc:docMk/>
            <pc:sldMk cId="2059220436" sldId="261"/>
            <ac:graphicFrameMk id="5" creationId="{CEA0A7BC-3481-AB23-06C5-AFDA59DC3C7C}"/>
          </ac:graphicFrameMkLst>
        </pc:graphicFrameChg>
        <pc:picChg chg="del">
          <ac:chgData name="Narayan Patil" userId="16060a7db6111a16" providerId="LiveId" clId="{763B7D3E-E071-4618-BE47-02F87A8F7EF9}" dt="2025-01-10T17:52:56.452" v="327" actId="478"/>
          <ac:picMkLst>
            <pc:docMk/>
            <pc:sldMk cId="2059220436" sldId="261"/>
            <ac:picMk id="6" creationId="{FB0BF69C-9C44-C4CB-8E64-5DCC7256D260}"/>
          </ac:picMkLst>
        </pc:picChg>
        <pc:picChg chg="add del mod">
          <ac:chgData name="Narayan Patil" userId="16060a7db6111a16" providerId="LiveId" clId="{763B7D3E-E071-4618-BE47-02F87A8F7EF9}" dt="2025-01-11T09:47:53.469" v="667" actId="478"/>
          <ac:picMkLst>
            <pc:docMk/>
            <pc:sldMk cId="2059220436" sldId="261"/>
            <ac:picMk id="7" creationId="{8DBE42B5-F952-1E57-02FF-BAF95BFF3DED}"/>
          </ac:picMkLst>
        </pc:picChg>
      </pc:sldChg>
      <pc:sldChg chg="addSp delSp modSp mod">
        <pc:chgData name="Narayan Patil" userId="16060a7db6111a16" providerId="LiveId" clId="{763B7D3E-E071-4618-BE47-02F87A8F7EF9}" dt="2025-01-11T09:57:09.629" v="708" actId="478"/>
        <pc:sldMkLst>
          <pc:docMk/>
          <pc:sldMk cId="4256708349" sldId="262"/>
        </pc:sldMkLst>
        <pc:spChg chg="mod">
          <ac:chgData name="Narayan Patil" userId="16060a7db6111a16" providerId="LiveId" clId="{763B7D3E-E071-4618-BE47-02F87A8F7EF9}" dt="2025-01-11T09:49:25.219" v="703" actId="6549"/>
          <ac:spMkLst>
            <pc:docMk/>
            <pc:sldMk cId="4256708349" sldId="262"/>
            <ac:spMk id="2" creationId="{82572E40-BBEC-E8B1-15EB-33312DFA862A}"/>
          </ac:spMkLst>
        </pc:spChg>
        <pc:spChg chg="del mod">
          <ac:chgData name="Narayan Patil" userId="16060a7db6111a16" providerId="LiveId" clId="{763B7D3E-E071-4618-BE47-02F87A8F7EF9}" dt="2025-01-11T09:51:34.252" v="706"/>
          <ac:spMkLst>
            <pc:docMk/>
            <pc:sldMk cId="4256708349" sldId="262"/>
            <ac:spMk id="3" creationId="{26421273-DA8F-4996-5664-ECA94FE82E6B}"/>
          </ac:spMkLst>
        </pc:spChg>
        <pc:spChg chg="add">
          <ac:chgData name="Narayan Patil" userId="16060a7db6111a16" providerId="LiveId" clId="{763B7D3E-E071-4618-BE47-02F87A8F7EF9}" dt="2025-01-11T09:51:27.067" v="704"/>
          <ac:spMkLst>
            <pc:docMk/>
            <pc:sldMk cId="4256708349" sldId="262"/>
            <ac:spMk id="4" creationId="{8A6A01A9-4900-00A9-2D65-0234C5E5832D}"/>
          </ac:spMkLst>
        </pc:spChg>
        <pc:spChg chg="add mod">
          <ac:chgData name="Narayan Patil" userId="16060a7db6111a16" providerId="LiveId" clId="{763B7D3E-E071-4618-BE47-02F87A8F7EF9}" dt="2025-01-11T09:51:34.252" v="706"/>
          <ac:spMkLst>
            <pc:docMk/>
            <pc:sldMk cId="4256708349" sldId="262"/>
            <ac:spMk id="5" creationId="{7B5A4D73-0FE3-33D4-FA5A-6F82F9038C1C}"/>
          </ac:spMkLst>
        </pc:spChg>
        <pc:picChg chg="del">
          <ac:chgData name="Narayan Patil" userId="16060a7db6111a16" providerId="LiveId" clId="{763B7D3E-E071-4618-BE47-02F87A8F7EF9}" dt="2025-01-10T18:04:18.134" v="467" actId="478"/>
          <ac:picMkLst>
            <pc:docMk/>
            <pc:sldMk cId="4256708349" sldId="262"/>
            <ac:picMk id="5" creationId="{995A6DAE-F1EF-14F4-C7C7-19EC6E75DCBF}"/>
          </ac:picMkLst>
        </pc:picChg>
        <pc:picChg chg="add mod">
          <ac:chgData name="Narayan Patil" userId="16060a7db6111a16" providerId="LiveId" clId="{763B7D3E-E071-4618-BE47-02F87A8F7EF9}" dt="2025-01-10T18:04:21.062" v="469" actId="1076"/>
          <ac:picMkLst>
            <pc:docMk/>
            <pc:sldMk cId="4256708349" sldId="262"/>
            <ac:picMk id="6" creationId="{2DA5F243-761F-DD9D-40AB-26B2BE4BABE2}"/>
          </ac:picMkLst>
        </pc:picChg>
        <pc:picChg chg="add del mod">
          <ac:chgData name="Narayan Patil" userId="16060a7db6111a16" providerId="LiveId" clId="{763B7D3E-E071-4618-BE47-02F87A8F7EF9}" dt="2025-01-11T09:57:09.629" v="708" actId="478"/>
          <ac:picMkLst>
            <pc:docMk/>
            <pc:sldMk cId="4256708349" sldId="262"/>
            <ac:picMk id="1027" creationId="{D9E3323D-7D8E-379C-0081-12B17BC39ECD}"/>
          </ac:picMkLst>
        </pc:picChg>
      </pc:sldChg>
      <pc:sldChg chg="delSp modSp del mod">
        <pc:chgData name="Narayan Patil" userId="16060a7db6111a16" providerId="LiveId" clId="{763B7D3E-E071-4618-BE47-02F87A8F7EF9}" dt="2025-01-10T18:05:40.012" v="523" actId="47"/>
        <pc:sldMkLst>
          <pc:docMk/>
          <pc:sldMk cId="3809674776" sldId="264"/>
        </pc:sldMkLst>
        <pc:spChg chg="mod">
          <ac:chgData name="Narayan Patil" userId="16060a7db6111a16" providerId="LiveId" clId="{763B7D3E-E071-4618-BE47-02F87A8F7EF9}" dt="2025-01-10T18:05:33.891" v="522" actId="20577"/>
          <ac:spMkLst>
            <pc:docMk/>
            <pc:sldMk cId="3809674776" sldId="264"/>
            <ac:spMk id="2" creationId="{82572E40-BBEC-E8B1-15EB-33312DFA862A}"/>
          </ac:spMkLst>
        </pc:spChg>
        <pc:picChg chg="del">
          <ac:chgData name="Narayan Patil" userId="16060a7db6111a16" providerId="LiveId" clId="{763B7D3E-E071-4618-BE47-02F87A8F7EF9}" dt="2025-01-10T18:05:30.103" v="521" actId="478"/>
          <ac:picMkLst>
            <pc:docMk/>
            <pc:sldMk cId="3809674776" sldId="264"/>
            <ac:picMk id="6" creationId="{03D32590-6EF5-9D40-C858-D6AD6E76A9DB}"/>
          </ac:picMkLst>
        </pc:picChg>
      </pc:sldChg>
      <pc:sldChg chg="delSp modSp add mod">
        <pc:chgData name="Narayan Patil" userId="16060a7db6111a16" providerId="LiveId" clId="{763B7D3E-E071-4618-BE47-02F87A8F7EF9}" dt="2025-01-11T09:48:49.261" v="690" actId="20577"/>
        <pc:sldMkLst>
          <pc:docMk/>
          <pc:sldMk cId="87232360" sldId="265"/>
        </pc:sldMkLst>
        <pc:spChg chg="mod">
          <ac:chgData name="Narayan Patil" userId="16060a7db6111a16" providerId="LiveId" clId="{763B7D3E-E071-4618-BE47-02F87A8F7EF9}" dt="2025-01-10T17:58:21.009" v="446" actId="20577"/>
          <ac:spMkLst>
            <pc:docMk/>
            <pc:sldMk cId="87232360" sldId="265"/>
            <ac:spMk id="2" creationId="{4D3B2DD0-9308-B509-55C7-1733CD098D0A}"/>
          </ac:spMkLst>
        </pc:spChg>
        <pc:spChg chg="mod">
          <ac:chgData name="Narayan Patil" userId="16060a7db6111a16" providerId="LiveId" clId="{763B7D3E-E071-4618-BE47-02F87A8F7EF9}" dt="2025-01-11T09:48:49.261" v="690" actId="20577"/>
          <ac:spMkLst>
            <pc:docMk/>
            <pc:sldMk cId="87232360" sldId="265"/>
            <ac:spMk id="8" creationId="{73F41BCC-0B2A-FFCB-84C7-A00ECE81F917}"/>
          </ac:spMkLst>
        </pc:spChg>
        <pc:picChg chg="del">
          <ac:chgData name="Narayan Patil" userId="16060a7db6111a16" providerId="LiveId" clId="{763B7D3E-E071-4618-BE47-02F87A8F7EF9}" dt="2025-01-10T17:56:14.394" v="347" actId="478"/>
          <ac:picMkLst>
            <pc:docMk/>
            <pc:sldMk cId="87232360" sldId="265"/>
            <ac:picMk id="7" creationId="{AAC34029-54B8-368E-B407-412E6810D10B}"/>
          </ac:picMkLst>
        </pc:picChg>
      </pc:sldChg>
      <pc:sldChg chg="addSp delSp modSp add mod">
        <pc:chgData name="Narayan Patil" userId="16060a7db6111a16" providerId="LiveId" clId="{763B7D3E-E071-4618-BE47-02F87A8F7EF9}" dt="2025-01-11T10:01:43.208" v="799" actId="1076"/>
        <pc:sldMkLst>
          <pc:docMk/>
          <pc:sldMk cId="1618199760" sldId="266"/>
        </pc:sldMkLst>
        <pc:spChg chg="mod">
          <ac:chgData name="Narayan Patil" userId="16060a7db6111a16" providerId="LiveId" clId="{763B7D3E-E071-4618-BE47-02F87A8F7EF9}" dt="2025-01-11T09:58:50.568" v="760" actId="20577"/>
          <ac:spMkLst>
            <pc:docMk/>
            <pc:sldMk cId="1618199760" sldId="266"/>
            <ac:spMk id="2" creationId="{2D372787-706B-317C-0FB5-6DF41418E7FC}"/>
          </ac:spMkLst>
        </pc:spChg>
        <pc:spChg chg="del mod">
          <ac:chgData name="Narayan Patil" userId="16060a7db6111a16" providerId="LiveId" clId="{763B7D3E-E071-4618-BE47-02F87A8F7EF9}" dt="2025-01-11T10:00:45.583" v="768" actId="478"/>
          <ac:spMkLst>
            <pc:docMk/>
            <pc:sldMk cId="1618199760" sldId="266"/>
            <ac:spMk id="5" creationId="{C60AF598-7DE0-44B4-65ED-5ACFB4DDD129}"/>
          </ac:spMkLst>
        </pc:spChg>
        <pc:spChg chg="add mod">
          <ac:chgData name="Narayan Patil" userId="16060a7db6111a16" providerId="LiveId" clId="{763B7D3E-E071-4618-BE47-02F87A8F7EF9}" dt="2025-01-11T10:01:43.208" v="799" actId="1076"/>
          <ac:spMkLst>
            <pc:docMk/>
            <pc:sldMk cId="1618199760" sldId="266"/>
            <ac:spMk id="8" creationId="{F59E05D1-1D5B-E43E-E667-8AB23A8590CF}"/>
          </ac:spMkLst>
        </pc:spChg>
        <pc:picChg chg="add mod">
          <ac:chgData name="Narayan Patil" userId="16060a7db6111a16" providerId="LiveId" clId="{763B7D3E-E071-4618-BE47-02F87A8F7EF9}" dt="2025-01-11T10:00:47.598" v="769" actId="14100"/>
          <ac:picMkLst>
            <pc:docMk/>
            <pc:sldMk cId="1618199760" sldId="266"/>
            <ac:picMk id="4" creationId="{6F0A9A28-27AE-78EC-57BB-AC477A804841}"/>
          </ac:picMkLst>
        </pc:picChg>
        <pc:picChg chg="del">
          <ac:chgData name="Narayan Patil" userId="16060a7db6111a16" providerId="LiveId" clId="{763B7D3E-E071-4618-BE47-02F87A8F7EF9}" dt="2025-01-11T09:58:14.794" v="712" actId="478"/>
          <ac:picMkLst>
            <pc:docMk/>
            <pc:sldMk cId="1618199760" sldId="266"/>
            <ac:picMk id="6" creationId="{AF80F95F-4F94-44A8-3D70-BE9ED3BCDC03}"/>
          </ac:picMkLst>
        </pc:picChg>
      </pc:sldChg>
      <pc:sldChg chg="add del">
        <pc:chgData name="Narayan Patil" userId="16060a7db6111a16" providerId="LiveId" clId="{763B7D3E-E071-4618-BE47-02F87A8F7EF9}" dt="2025-01-11T09:57:15.606" v="710" actId="47"/>
        <pc:sldMkLst>
          <pc:docMk/>
          <pc:sldMk cId="4182220729" sldId="266"/>
        </pc:sldMkLst>
      </pc:sldChg>
      <pc:sldChg chg="addSp delSp modSp add mod">
        <pc:chgData name="Narayan Patil" userId="16060a7db6111a16" providerId="LiveId" clId="{763B7D3E-E071-4618-BE47-02F87A8F7EF9}" dt="2025-01-11T10:03:41.778" v="818" actId="1076"/>
        <pc:sldMkLst>
          <pc:docMk/>
          <pc:sldMk cId="226459981" sldId="267"/>
        </pc:sldMkLst>
        <pc:spChg chg="mod">
          <ac:chgData name="Narayan Patil" userId="16060a7db6111a16" providerId="LiveId" clId="{763B7D3E-E071-4618-BE47-02F87A8F7EF9}" dt="2025-01-11T10:03:00.771" v="817"/>
          <ac:spMkLst>
            <pc:docMk/>
            <pc:sldMk cId="226459981" sldId="267"/>
            <ac:spMk id="8" creationId="{76B6C382-4D63-366B-9FFC-EA880CE7F445}"/>
          </ac:spMkLst>
        </pc:spChg>
        <pc:picChg chg="del">
          <ac:chgData name="Narayan Patil" userId="16060a7db6111a16" providerId="LiveId" clId="{763B7D3E-E071-4618-BE47-02F87A8F7EF9}" dt="2025-01-11T10:02:24.662" v="801" actId="478"/>
          <ac:picMkLst>
            <pc:docMk/>
            <pc:sldMk cId="226459981" sldId="267"/>
            <ac:picMk id="4" creationId="{C7788479-2EF6-6676-14CB-263F0B236544}"/>
          </ac:picMkLst>
        </pc:picChg>
        <pc:picChg chg="add del mod">
          <ac:chgData name="Narayan Patil" userId="16060a7db6111a16" providerId="LiveId" clId="{763B7D3E-E071-4618-BE47-02F87A8F7EF9}" dt="2025-01-11T10:03:41.778" v="818" actId="1076"/>
          <ac:picMkLst>
            <pc:docMk/>
            <pc:sldMk cId="226459981" sldId="267"/>
            <ac:picMk id="3073" creationId="{706EB287-425D-5094-1A7A-37DAC371BD01}"/>
          </ac:picMkLst>
        </pc:picChg>
        <pc:picChg chg="add del mod">
          <ac:chgData name="Narayan Patil" userId="16060a7db6111a16" providerId="LiveId" clId="{763B7D3E-E071-4618-BE47-02F87A8F7EF9}" dt="2025-01-11T10:02:53.907" v="815" actId="14100"/>
          <ac:picMkLst>
            <pc:docMk/>
            <pc:sldMk cId="226459981" sldId="267"/>
            <ac:picMk id="3074" creationId="{DD987837-0873-2CC9-9080-987D5F8DE27A}"/>
          </ac:picMkLst>
        </pc:picChg>
      </pc:sldChg>
      <pc:sldChg chg="add del">
        <pc:chgData name="Narayan Patil" userId="16060a7db6111a16" providerId="LiveId" clId="{763B7D3E-E071-4618-BE47-02F87A8F7EF9}" dt="2025-01-11T09:58:17.150" v="714"/>
        <pc:sldMkLst>
          <pc:docMk/>
          <pc:sldMk cId="2976524040" sldId="267"/>
        </pc:sldMkLst>
      </pc:sldChg>
      <pc:sldChg chg="add del">
        <pc:chgData name="Narayan Patil" userId="16060a7db6111a16" providerId="LiveId" clId="{763B7D3E-E071-4618-BE47-02F87A8F7EF9}" dt="2025-01-11T10:02:27.638" v="803"/>
        <pc:sldMkLst>
          <pc:docMk/>
          <pc:sldMk cId="465006021" sldId="268"/>
        </pc:sldMkLst>
      </pc:sldChg>
    </pc:docChg>
  </pc:docChgLst>
  <pc:docChgLst>
    <pc:chgData name="Narayan Patil" userId="16060a7db6111a16" providerId="LiveId" clId="{B551DD3D-BA26-4505-9CC5-919746FB9266}"/>
    <pc:docChg chg="undo custSel addSld delSld modSld sldOrd">
      <pc:chgData name="Narayan Patil" userId="16060a7db6111a16" providerId="LiveId" clId="{B551DD3D-BA26-4505-9CC5-919746FB9266}" dt="2024-05-25T16:37:47.499" v="543" actId="47"/>
      <pc:docMkLst>
        <pc:docMk/>
      </pc:docMkLst>
      <pc:sldChg chg="addSp modSp new mod">
        <pc:chgData name="Narayan Patil" userId="16060a7db6111a16" providerId="LiveId" clId="{B551DD3D-BA26-4505-9CC5-919746FB9266}" dt="2024-05-25T08:03:06.019" v="140" actId="20577"/>
        <pc:sldMkLst>
          <pc:docMk/>
          <pc:sldMk cId="4168657796" sldId="256"/>
        </pc:sldMkLst>
      </pc:sldChg>
      <pc:sldChg chg="modSp new mod ord">
        <pc:chgData name="Narayan Patil" userId="16060a7db6111a16" providerId="LiveId" clId="{B551DD3D-BA26-4505-9CC5-919746FB9266}" dt="2024-05-25T08:11:53.969" v="520" actId="1076"/>
        <pc:sldMkLst>
          <pc:docMk/>
          <pc:sldMk cId="2637821224" sldId="257"/>
        </pc:sldMkLst>
      </pc:sldChg>
      <pc:sldChg chg="addSp delSp modSp add mod">
        <pc:chgData name="Narayan Patil" userId="16060a7db6111a16" providerId="LiveId" clId="{B551DD3D-BA26-4505-9CC5-919746FB9266}" dt="2024-05-25T08:05:16.122" v="283" actId="20577"/>
        <pc:sldMkLst>
          <pc:docMk/>
          <pc:sldMk cId="19184288" sldId="258"/>
        </pc:sldMkLst>
      </pc:sldChg>
      <pc:sldChg chg="addSp delSp modSp add mod">
        <pc:chgData name="Narayan Patil" userId="16060a7db6111a16" providerId="LiveId" clId="{B551DD3D-BA26-4505-9CC5-919746FB9266}" dt="2024-05-25T08:08:32.824" v="451"/>
        <pc:sldMkLst>
          <pc:docMk/>
          <pc:sldMk cId="3033151651" sldId="259"/>
        </pc:sldMkLst>
      </pc:sldChg>
      <pc:sldChg chg="addSp delSp modSp add mod ord">
        <pc:chgData name="Narayan Patil" userId="16060a7db6111a16" providerId="LiveId" clId="{B551DD3D-BA26-4505-9CC5-919746FB9266}" dt="2024-05-25T08:12:39.607" v="542"/>
        <pc:sldMkLst>
          <pc:docMk/>
          <pc:sldMk cId="96075347" sldId="260"/>
        </pc:sldMkLst>
      </pc:sldChg>
      <pc:sldChg chg="delSp add del mod">
        <pc:chgData name="Narayan Patil" userId="16060a7db6111a16" providerId="LiveId" clId="{B551DD3D-BA26-4505-9CC5-919746FB9266}" dt="2024-05-25T08:10:40.943" v="454" actId="47"/>
        <pc:sldMkLst>
          <pc:docMk/>
          <pc:sldMk cId="1183556779" sldId="260"/>
        </pc:sldMkLst>
      </pc:sldChg>
      <pc:sldChg chg="del">
        <pc:chgData name="Narayan Patil" userId="16060a7db6111a16" providerId="LiveId" clId="{B551DD3D-BA26-4505-9CC5-919746FB9266}" dt="2024-05-25T16:37:47.499" v="543" actId="47"/>
        <pc:sldMkLst>
          <pc:docMk/>
          <pc:sldMk cId="370328359" sldId="26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16060a7db6111a16/Desktop/New%20folder%20(2)/C02%20Emission%20Analysis%20ABADS-1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02 Emission Analysis ABADS-13.xlsx]Sector Wise C02 Emissions!PivotTable2</c:name>
    <c:fmtId val="10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IN"/>
              <a:t>Sector Wise C02 Emiss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lt1">
                      <a:lumMod val="8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ector Wise C02 Emissions'!$A$3</c:f>
              <c:strCache>
                <c:ptCount val="1"/>
                <c:pt idx="0">
                  <c:v>Land use Change C02 In Tonnes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l"/>
            </a:scene3d>
            <a:sp3d prstMaterial="plastic">
              <a:bevelT w="0" h="0"/>
            </a:sp3d>
          </c:spPr>
          <c:invertIfNegative val="0"/>
          <c:cat>
            <c:strRef>
              <c:f>'Sector Wise C02 Emissions'!$A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Sector Wise C02 Emissions'!$A$4</c:f>
              <c:numCache>
                <c:formatCode>General</c:formatCode>
                <c:ptCount val="1"/>
                <c:pt idx="0">
                  <c:v>4540460.59999995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27-4CCE-956A-EA1A923E4C2F}"/>
            </c:ext>
          </c:extLst>
        </c:ser>
        <c:ser>
          <c:idx val="1"/>
          <c:order val="1"/>
          <c:tx>
            <c:strRef>
              <c:f>'Sector Wise C02 Emissions'!$B$3</c:f>
              <c:strCache>
                <c:ptCount val="1"/>
                <c:pt idx="0">
                  <c:v>Coal C02 In Tonne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l"/>
            </a:scene3d>
            <a:sp3d prstMaterial="plastic">
              <a:bevelT w="0" h="0"/>
            </a:sp3d>
          </c:spPr>
          <c:invertIfNegative val="0"/>
          <c:cat>
            <c:strRef>
              <c:f>'Sector Wise C02 Emissions'!$A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Sector Wise C02 Emissions'!$B$4</c:f>
              <c:numCache>
                <c:formatCode>General</c:formatCode>
                <c:ptCount val="1"/>
                <c:pt idx="0">
                  <c:v>3978434.3300001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27-4CCE-956A-EA1A923E4C2F}"/>
            </c:ext>
          </c:extLst>
        </c:ser>
        <c:ser>
          <c:idx val="2"/>
          <c:order val="2"/>
          <c:tx>
            <c:strRef>
              <c:f>'Sector Wise C02 Emissions'!$C$3</c:f>
              <c:strCache>
                <c:ptCount val="1"/>
                <c:pt idx="0">
                  <c:v>Sum of oil_co2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l"/>
            </a:scene3d>
            <a:sp3d prstMaterial="plastic">
              <a:bevelT w="0" h="0"/>
            </a:sp3d>
          </c:spPr>
          <c:invertIfNegative val="0"/>
          <c:cat>
            <c:strRef>
              <c:f>'Sector Wise C02 Emissions'!$A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Sector Wise C02 Emissions'!$C$4</c:f>
              <c:numCache>
                <c:formatCode>General</c:formatCode>
                <c:ptCount val="1"/>
                <c:pt idx="0">
                  <c:v>2891464.0470000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927-4CCE-956A-EA1A923E4C2F}"/>
            </c:ext>
          </c:extLst>
        </c:ser>
        <c:ser>
          <c:idx val="3"/>
          <c:order val="3"/>
          <c:tx>
            <c:strRef>
              <c:f>'Sector Wise C02 Emissions'!$D$3</c:f>
              <c:strCache>
                <c:ptCount val="1"/>
                <c:pt idx="0">
                  <c:v>Gas C02 In Tonne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l"/>
            </a:scene3d>
            <a:sp3d prstMaterial="plastic">
              <a:bevelT w="0" h="0"/>
            </a:sp3d>
          </c:spPr>
          <c:invertIfNegative val="0"/>
          <c:cat>
            <c:strRef>
              <c:f>'Sector Wise C02 Emissions'!$A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Sector Wise C02 Emissions'!$D$4</c:f>
              <c:numCache>
                <c:formatCode>General</c:formatCode>
                <c:ptCount val="1"/>
                <c:pt idx="0">
                  <c:v>1326212.147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927-4CCE-956A-EA1A923E4C2F}"/>
            </c:ext>
          </c:extLst>
        </c:ser>
        <c:ser>
          <c:idx val="4"/>
          <c:order val="4"/>
          <c:tx>
            <c:strRef>
              <c:f>'Sector Wise C02 Emissions'!$E$3</c:f>
              <c:strCache>
                <c:ptCount val="1"/>
                <c:pt idx="0">
                  <c:v>Cement C02 In Tonnes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l"/>
            </a:scene3d>
            <a:sp3d prstMaterial="plastic">
              <a:bevelT w="0" h="0"/>
            </a:sp3d>
          </c:spPr>
          <c:invertIfNegative val="0"/>
          <c:cat>
            <c:strRef>
              <c:f>'Sector Wise C02 Emissions'!$A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Sector Wise C02 Emissions'!$E$4</c:f>
              <c:numCache>
                <c:formatCode>General</c:formatCode>
                <c:ptCount val="1"/>
                <c:pt idx="0">
                  <c:v>224200.459999997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927-4CCE-956A-EA1A923E4C2F}"/>
            </c:ext>
          </c:extLst>
        </c:ser>
        <c:ser>
          <c:idx val="5"/>
          <c:order val="5"/>
          <c:tx>
            <c:strRef>
              <c:f>'Sector Wise C02 Emissions'!$F$3</c:f>
              <c:strCache>
                <c:ptCount val="1"/>
                <c:pt idx="0">
                  <c:v>Flaring C02 In Tonnes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l"/>
            </a:scene3d>
            <a:sp3d prstMaterial="plastic">
              <a:bevelT w="0" h="0"/>
            </a:sp3d>
          </c:spPr>
          <c:invertIfNegative val="0"/>
          <c:cat>
            <c:strRef>
              <c:f>'Sector Wise C02 Emissions'!$A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Sector Wise C02 Emissions'!$F$4</c:f>
              <c:numCache>
                <c:formatCode>General</c:formatCode>
                <c:ptCount val="1"/>
                <c:pt idx="0">
                  <c:v>92885.1459999998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927-4CCE-956A-EA1A923E4C2F}"/>
            </c:ext>
          </c:extLst>
        </c:ser>
        <c:ser>
          <c:idx val="6"/>
          <c:order val="6"/>
          <c:tx>
            <c:strRef>
              <c:f>'Sector Wise C02 Emissions'!$G$3</c:f>
              <c:strCache>
                <c:ptCount val="1"/>
                <c:pt idx="0">
                  <c:v>Other Industry C02 In Tonnes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l"/>
            </a:scene3d>
            <a:sp3d prstMaterial="plastic">
              <a:bevelT w="0" h="0"/>
            </a:sp3d>
          </c:spPr>
          <c:invertIfNegative val="0"/>
          <c:cat>
            <c:strRef>
              <c:f>'Sector Wise C02 Emissions'!$A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'Sector Wise C02 Emissions'!$G$4</c:f>
              <c:numCache>
                <c:formatCode>General</c:formatCode>
                <c:ptCount val="1"/>
                <c:pt idx="0">
                  <c:v>46800.463000000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927-4CCE-956A-EA1A923E4C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5618159"/>
        <c:axId val="5618639"/>
      </c:barChart>
      <c:catAx>
        <c:axId val="56181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18639"/>
        <c:crosses val="autoZero"/>
        <c:auto val="1"/>
        <c:lblAlgn val="ctr"/>
        <c:lblOffset val="100"/>
        <c:noMultiLvlLbl val="0"/>
      </c:catAx>
      <c:valAx>
        <c:axId val="561863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181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287189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353761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085498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027404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04549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861276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262823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279975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4979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957677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649264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74128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64262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310476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78447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946473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198351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26FACFA9-43E1-48C0-9ABE-7EB1003AB73C}" type="datetimeFigureOut">
              <a:rPr lang="en-IN" smtClean="0"/>
              <a:t>11-01-202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592F15-6A6D-4E93-81CB-7E36D66D95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378810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mp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963A28-2F98-B0DD-4764-2EC6212532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323" y="4414684"/>
            <a:ext cx="10658168" cy="1011626"/>
          </a:xfrm>
        </p:spPr>
        <p:txBody>
          <a:bodyPr/>
          <a:lstStyle/>
          <a:p>
            <a:r>
              <a:rPr lang="en-IN" sz="6000" dirty="0"/>
              <a:t>CO2 EMISSION ANALYSIS</a:t>
            </a:r>
          </a:p>
        </p:txBody>
      </p:sp>
    </p:spTree>
    <p:extLst>
      <p:ext uri="{BB962C8B-B14F-4D97-AF65-F5344CB8AC3E}">
        <p14:creationId xmlns:p14="http://schemas.microsoft.com/office/powerpoint/2010/main" val="26378212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963A28-2F98-B0DD-4764-2EC6212532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95484" y="700549"/>
            <a:ext cx="8825658" cy="3329581"/>
          </a:xfrm>
        </p:spPr>
        <p:txBody>
          <a:bodyPr/>
          <a:lstStyle/>
          <a:p>
            <a:r>
              <a:rPr lang="en-IN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60753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72E40-BBEC-E8B1-15EB-33312DFA8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40" y="69260"/>
            <a:ext cx="9404723" cy="412521"/>
          </a:xfrm>
        </p:spPr>
        <p:txBody>
          <a:bodyPr/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need for CO2 emission stud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421273-DA8F-4996-5664-ECA94FE82E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930" y="1774288"/>
            <a:ext cx="10195922" cy="4016911"/>
          </a:xfrm>
        </p:spPr>
        <p:txBody>
          <a:bodyPr>
            <a:normAutofit/>
          </a:bodyPr>
          <a:lstStyle/>
          <a:p>
            <a:r>
              <a:rPr lang="en-US" b="0" i="0" dirty="0">
                <a:effectLst/>
                <a:latin typeface="Google Sans"/>
              </a:rPr>
              <a:t>Helps us understand and address the issue of climate change by identifying major sources of emissions</a:t>
            </a:r>
          </a:p>
          <a:p>
            <a:r>
              <a:rPr lang="en-US" dirty="0">
                <a:latin typeface="Google Sans"/>
              </a:rPr>
              <a:t>Allows For Mitigation </a:t>
            </a:r>
            <a:r>
              <a:rPr lang="en-US" dirty="0" err="1">
                <a:latin typeface="Google Sans"/>
              </a:rPr>
              <a:t>stratergies</a:t>
            </a:r>
            <a:endParaRPr lang="en-US" dirty="0">
              <a:latin typeface="Google Sans"/>
            </a:endParaRPr>
          </a:p>
          <a:p>
            <a:r>
              <a:rPr lang="en-US" b="0" i="0" dirty="0">
                <a:effectLst/>
                <a:latin typeface="Google Sans"/>
              </a:rPr>
              <a:t>Businesses can use CO2 emissions data to evaluate their environmental impact</a:t>
            </a:r>
          </a:p>
          <a:p>
            <a:r>
              <a:rPr lang="en-US" b="0" i="0" dirty="0">
                <a:effectLst/>
                <a:latin typeface="Google Sans"/>
              </a:rPr>
              <a:t>Understanding the sources and impacts of CO2 emissions helps raise public awareness about climate change 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686577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72E40-BBEC-E8B1-15EB-33312DFA8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40" y="69260"/>
            <a:ext cx="9404723" cy="412521"/>
          </a:xfrm>
        </p:spPr>
        <p:txBody>
          <a:bodyPr/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02 Emission over year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00C400C-C7AF-F257-A09A-E0898CD503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0" t="27217" r="37049" b="4197"/>
          <a:stretch/>
        </p:blipFill>
        <p:spPr>
          <a:xfrm>
            <a:off x="176980" y="1133529"/>
            <a:ext cx="7364361" cy="4150875"/>
          </a:xfrm>
          <a:prstGeom prst="rect">
            <a:avLst/>
          </a:prstGeom>
        </p:spPr>
      </p:pic>
      <p:sp>
        <p:nvSpPr>
          <p:cNvPr id="8" name="Rectangle 2">
            <a:extLst>
              <a:ext uri="{FF2B5EF4-FFF2-40B4-BE49-F238E27FC236}">
                <a16:creationId xmlns:a16="http://schemas.microsoft.com/office/drawing/2014/main" id="{EF32271A-E63F-523C-E8D5-6779BA6A3BBA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7767484" y="1487740"/>
            <a:ext cx="4247536" cy="3231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Gradual Increase (1850–1950)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₂ emissions remained relatively low during the earlier decades, increasing slowly from 0.19M in 1850 to around 0.56M by 1950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is reflects the early industrial revolution and gradual expansion of fossil fuel us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apid Growth (1950–2000)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fter 1950, emissions grew exponentially, reaching a peak of approximately </a:t>
            </a:r>
            <a:r>
              <a:rPr kumimoji="0" lang="en-US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.83M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is period aligns with post-World War II industrialization, economic growth, and increased reliance on fossil fuel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harp Decline (Post-2000)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 steep drop in CO₂ emissions is visible, falling to </a:t>
            </a:r>
            <a:r>
              <a:rPr kumimoji="0" lang="en-US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0.73M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is could signify shifts toward renewable energy, stricter environmental regulations, or economic changes leading to reduced emission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84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72E40-BBEC-E8B1-15EB-33312DFA8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40" y="69260"/>
            <a:ext cx="9404723" cy="412521"/>
          </a:xfrm>
        </p:spPr>
        <p:txBody>
          <a:bodyPr/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untry Wise Emiss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1C2B48-B351-A5E5-7176-BBBD44F829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301" y="747718"/>
            <a:ext cx="9685100" cy="3438832"/>
          </a:xfrm>
          <a:prstGeom prst="rect">
            <a:avLst/>
          </a:prstGeom>
        </p:spPr>
      </p:pic>
      <p:sp>
        <p:nvSpPr>
          <p:cNvPr id="9" name="Rectangle 1">
            <a:extLst>
              <a:ext uri="{FF2B5EF4-FFF2-40B4-BE49-F238E27FC236}">
                <a16:creationId xmlns:a16="http://schemas.microsoft.com/office/drawing/2014/main" id="{6BC950DE-32A7-728C-EDCF-6505A4364496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67148" y="4186550"/>
            <a:ext cx="12408634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p Contributor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e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nited State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leads with the highest CO₂ emissions, exceeding 0.6 million metric ton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hina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ussia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dia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and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razil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follow, showing significant contributions but with a notable gap compared to the United Stat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id-level Contributor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untries like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Germany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nited Kingdom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anada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and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Japan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contribute moderate amounts of emissions, likely due to industrialization and energy usag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missions gradually decrease as we move down the char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ower Emitter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wards the end, countries such as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ozambique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cuador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and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inland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contribute minimal emissions. These may represent less industrialized nations or those with greener energy polici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151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72E40-BBEC-E8B1-15EB-33312DFA8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40" y="69260"/>
            <a:ext cx="9404723" cy="412521"/>
          </a:xfrm>
        </p:spPr>
        <p:txBody>
          <a:bodyPr/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tor Wise C02 Emission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EA0A7BC-3481-AB23-06C5-AFDA59DC3C7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404395"/>
              </p:ext>
            </p:extLst>
          </p:nvPr>
        </p:nvGraphicFramePr>
        <p:xfrm>
          <a:off x="717755" y="1278194"/>
          <a:ext cx="10019071" cy="48767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0592204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968EB7-1F1D-3854-FEBE-F3081B0983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3B2DD0-9308-B509-55C7-1733CD098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40" y="69260"/>
            <a:ext cx="9404723" cy="412521"/>
          </a:xfrm>
        </p:spPr>
        <p:txBody>
          <a:bodyPr/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tor Wise C02 Emission Contd..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73F41BCC-0B2A-FFCB-84C7-A00ECE81F917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31112" y="1544096"/>
            <a:ext cx="11304396" cy="4278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and Use Change CO₂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argest contributor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among sectors, with emissions exceeding 4.5 million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nnes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ikely includes deforestation, agricultural expansion, and other changes in land use that release stored carbon into the atmospher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al CO₂ Emissions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Second largest source of emissions, slightly below land use change, reflecting the heavy reliance on coal as an energy sourc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dicates its significant role in industrial processes, power generation, and heating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Oil CO₂ Emissions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A significant contributor, with emissions around 3 million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nnes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ssociated with transportation, industrial use, and energy production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Gas CO₂ Emissions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Moderate contributor compared to coal and oil, around 1.5 million </a:t>
            </a:r>
            <a:r>
              <a:rPr kumimoji="0" lang="en-US" alt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nnes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epresents emissions from natural gas consumption for heating, electricity, and industrial purpose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ement CO₂ Emissions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 smaller, yet notable sector contributing emission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ssociated with the production of cement, which involves the release of CO₂ during the chemical proces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laring CO₂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Minor contributor compared to other sectors, likely related to gas flaring during oil extraction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lang="en-US" altLang="en-US" sz="1600" b="1" dirty="0">
                <a:latin typeface="Arial" panose="020B0604020202020204" pitchFamily="34" charset="0"/>
              </a:rPr>
              <a:t>Other Industry CO₂</a:t>
            </a:r>
            <a:r>
              <a:rPr kumimoji="0" lang="en-US" altLang="en-US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altLang="en-US" sz="1600" dirty="0">
                <a:latin typeface="Arial" panose="020B0604020202020204" pitchFamily="34" charset="0"/>
              </a:rPr>
              <a:t>Emiss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lang="en-US" sz="1600" dirty="0">
                <a:latin typeface="Arial" panose="020B0604020202020204" pitchFamily="34" charset="0"/>
              </a:rPr>
              <a:t>Represents miscellaneous industrial activities contributing relatively low CO₂ emissions.</a:t>
            </a:r>
            <a:endParaRPr lang="en-US" altLang="en-US" sz="1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2323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72E40-BBEC-E8B1-15EB-33312DFA8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40" y="69260"/>
            <a:ext cx="9404723" cy="412521"/>
          </a:xfrm>
        </p:spPr>
        <p:txBody>
          <a:bodyPr/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gion Wise Emiss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DA5F243-761F-DD9D-40AB-26B2BE4BAB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840" y="1036112"/>
            <a:ext cx="9533446" cy="4785775"/>
          </a:xfrm>
          <a:prstGeom prst="rect">
            <a:avLst/>
          </a:prstGeom>
        </p:spPr>
      </p:pic>
      <p:sp>
        <p:nvSpPr>
          <p:cNvPr id="5" name="Rectangle 2">
            <a:extLst>
              <a:ext uri="{FF2B5EF4-FFF2-40B4-BE49-F238E27FC236}">
                <a16:creationId xmlns:a16="http://schemas.microsoft.com/office/drawing/2014/main" id="{7B5A4D73-0FE3-33D4-FA5A-6F82F9038C1C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304800" y="6024563"/>
            <a:ext cx="8947150" cy="515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estern Europe and South/Southeast Asia are major contributors among specific region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iddle East and North Africa show the lowest emissions, reflecting lower industrial activity or population size. </a:t>
            </a:r>
          </a:p>
        </p:txBody>
      </p:sp>
    </p:spTree>
    <p:extLst>
      <p:ext uri="{BB962C8B-B14F-4D97-AF65-F5344CB8AC3E}">
        <p14:creationId xmlns:p14="http://schemas.microsoft.com/office/powerpoint/2010/main" val="42567083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A615A7-97DF-F973-5999-4C17A328E1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372787-706B-317C-0FB5-6DF41418E7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40" y="69260"/>
            <a:ext cx="9404723" cy="412521"/>
          </a:xfrm>
        </p:spPr>
        <p:txBody>
          <a:bodyPr/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relation Between selected variab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0A9A28-27AE-78EC-57BB-AC477A8048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877358"/>
            <a:ext cx="6888906" cy="537595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59E05D1-1D5B-E43E-E667-8AB23A8590CF}"/>
              </a:ext>
            </a:extLst>
          </p:cNvPr>
          <p:cNvSpPr txBox="1"/>
          <p:nvPr/>
        </p:nvSpPr>
        <p:spPr>
          <a:xfrm>
            <a:off x="7325033" y="1720840"/>
            <a:ext cx="4640825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Energy use and CO2 emissions are very tightly linked, suggesting that current energy production methods are still heavily carbon-dependent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opulation size has a strong influence on both emissions and energy consumption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Surprisingly, GDP (economic output) has much weaker connections with emissions, energy use, and population, suggesting that economic development doesn't necessarily mean proportionally higher emissions or energy use</a:t>
            </a:r>
          </a:p>
        </p:txBody>
      </p:sp>
    </p:spTree>
    <p:extLst>
      <p:ext uri="{BB962C8B-B14F-4D97-AF65-F5344CB8AC3E}">
        <p14:creationId xmlns:p14="http://schemas.microsoft.com/office/powerpoint/2010/main" val="16181997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BFF8DB-25F3-4F16-5E99-0DCE46C09A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A8FFB3-0A75-CE07-20F9-C12535411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40" y="69260"/>
            <a:ext cx="9404723" cy="412521"/>
          </a:xfrm>
        </p:spPr>
        <p:txBody>
          <a:bodyPr/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relation Between selected variab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B6C382-4D63-366B-9FFC-EA880CE7F445}"/>
              </a:ext>
            </a:extLst>
          </p:cNvPr>
          <p:cNvSpPr txBox="1"/>
          <p:nvPr/>
        </p:nvSpPr>
        <p:spPr>
          <a:xfrm>
            <a:off x="7325033" y="1720840"/>
            <a:ext cx="4640825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Energy use and CO2 emissions are very tightly linked, suggesting that current energy production methods are still heavily carbon-dependent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opulation size has a strong influence on both emissions and energy consumption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Surprisingly, GDP (economic output) has much weaker connections with emissions, energy use, and population, suggesting that economic development doesn't necessarily mean proportionally higher emissions or energy use</a:t>
            </a:r>
          </a:p>
        </p:txBody>
      </p:sp>
      <p:pic>
        <p:nvPicPr>
          <p:cNvPr id="3073" name="Picture 1">
            <a:extLst>
              <a:ext uri="{FF2B5EF4-FFF2-40B4-BE49-F238E27FC236}">
                <a16:creationId xmlns:a16="http://schemas.microsoft.com/office/drawing/2014/main" id="{706EB287-425D-5094-1A7A-37DAC371BD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40" y="943897"/>
            <a:ext cx="3194528" cy="2005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459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F9A9617_11BD_411D_BF18_161A4F68E1C6&quot;,&quot;SourceFullName&quot;:&quot;https://d.docs.live.net/16060a7db6111a16/Desktop/New folder (2)/C02 Emission Analysis ABADS-13.xlsx&quot;,&quot;LastUpdate&quot;:&quot;2025-01-11 3:18 PM&quot;,&quot;UpdatedBy&quot;:&quot;sagar&quot;,&quot;IsLinked&quot;:true,&quot;IsBrokenLink&quot;:false,&quot;Type&quot;:1,&quot;ShapeId&quot;:2,&quot;WorksheetName&quot;:&quot;Sector Wise C02 Emissions&quot;}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130</TotalTime>
  <Words>693</Words>
  <Application>Microsoft Office PowerPoint</Application>
  <PresentationFormat>Widescreen</PresentationFormat>
  <Paragraphs>56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entury Gothic</vt:lpstr>
      <vt:lpstr>Google Sans</vt:lpstr>
      <vt:lpstr>Wingdings 3</vt:lpstr>
      <vt:lpstr>Ion</vt:lpstr>
      <vt:lpstr>CO2 EMISSION ANALYSIS</vt:lpstr>
      <vt:lpstr>The need for CO2 emission study</vt:lpstr>
      <vt:lpstr>C02 Emission over years</vt:lpstr>
      <vt:lpstr>Country Wise Emissions</vt:lpstr>
      <vt:lpstr>Sector Wise C02 Emission</vt:lpstr>
      <vt:lpstr>Sector Wise C02 Emission Contd..</vt:lpstr>
      <vt:lpstr>Region Wise Emissions</vt:lpstr>
      <vt:lpstr>Corelation Between selected variables</vt:lpstr>
      <vt:lpstr>Corelation Between selected variable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stomer Service Data Analysis</dc:title>
  <dc:creator>Narayan Patil</dc:creator>
  <cp:lastModifiedBy>Narayan Patil</cp:lastModifiedBy>
  <cp:revision>5</cp:revision>
  <dcterms:created xsi:type="dcterms:W3CDTF">2024-05-25T08:00:12Z</dcterms:created>
  <dcterms:modified xsi:type="dcterms:W3CDTF">2025-01-11T10:03:46Z</dcterms:modified>
</cp:coreProperties>
</file>